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903" r:id="rId2"/>
    <p:sldId id="1129" r:id="rId3"/>
  </p:sldIdLst>
  <p:sldSz cx="9144000" cy="5143500" type="screen16x9"/>
  <p:notesSz cx="6858000" cy="9144000"/>
  <p:custDataLst>
    <p:tags r:id="rId6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4">
          <p15:clr>
            <a:srgbClr val="A4A3A4"/>
          </p15:clr>
        </p15:guide>
        <p15:guide id="2" orient="horz" pos="1513">
          <p15:clr>
            <a:srgbClr val="A4A3A4"/>
          </p15:clr>
        </p15:guide>
        <p15:guide id="3" orient="horz" pos="1850">
          <p15:clr>
            <a:srgbClr val="A4A3A4"/>
          </p15:clr>
        </p15:guide>
        <p15:guide id="4" orient="horz" pos="2511">
          <p15:clr>
            <a:srgbClr val="A4A3A4"/>
          </p15:clr>
        </p15:guide>
        <p15:guide id="5" orient="horz" pos="2902">
          <p15:clr>
            <a:srgbClr val="A4A3A4"/>
          </p15:clr>
        </p15:guide>
        <p15:guide id="6" pos="305">
          <p15:clr>
            <a:srgbClr val="A4A3A4"/>
          </p15:clr>
        </p15:guide>
        <p15:guide id="7" pos="1063">
          <p15:clr>
            <a:srgbClr val="A4A3A4"/>
          </p15:clr>
        </p15:guide>
        <p15:guide id="8" pos="2078">
          <p15:clr>
            <a:srgbClr val="A4A3A4"/>
          </p15:clr>
        </p15:guide>
        <p15:guide id="9" pos="3439">
          <p15:clr>
            <a:srgbClr val="A4A3A4"/>
          </p15:clr>
        </p15:guide>
        <p15:guide id="10" pos="4422">
          <p15:clr>
            <a:srgbClr val="A4A3A4"/>
          </p15:clr>
        </p15:guide>
        <p15:guide id="11" pos="547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689">
          <p15:clr>
            <a:srgbClr val="A4A3A4"/>
          </p15:clr>
        </p15:guide>
        <p15:guide id="2" pos="20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用户" initials="Office" lastIdx="1" clrIdx="0">
    <p:extLst/>
  </p:cmAuthor>
  <p:cmAuthor id="2" name="Microsoft Office 用户" initials="Office [2]" lastIdx="1" clrIdx="1">
    <p:extLst/>
  </p:cmAuthor>
  <p:cmAuthor id="3" name="Microsoft Office User" initials="MOU" lastIdx="20" clrIdx="2">
    <p:extLst/>
  </p:cmAuthor>
  <p:cmAuthor id="4" name="Wang, Shuchao" initials="WS" lastIdx="1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400"/>
    <a:srgbClr val="E2580E"/>
    <a:srgbClr val="E07814"/>
    <a:srgbClr val="FF8300"/>
    <a:srgbClr val="F8B878"/>
    <a:srgbClr val="3171BD"/>
    <a:srgbClr val="F85415"/>
    <a:srgbClr val="000000"/>
    <a:srgbClr val="F08422"/>
    <a:srgbClr val="F2AB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深色样式 2 - 强调 1/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588" autoAdjust="0"/>
    <p:restoredTop sz="76267" autoAdjust="0"/>
  </p:normalViewPr>
  <p:slideViewPr>
    <p:cSldViewPr snapToObjects="1">
      <p:cViewPr>
        <p:scale>
          <a:sx n="120" d="100"/>
          <a:sy n="120" d="100"/>
        </p:scale>
        <p:origin x="1320" y="-48"/>
      </p:cViewPr>
      <p:guideLst>
        <p:guide orient="horz" pos="1004"/>
        <p:guide orient="horz" pos="1513"/>
        <p:guide orient="horz" pos="1850"/>
        <p:guide orient="horz" pos="2511"/>
        <p:guide orient="horz" pos="2902"/>
        <p:guide pos="305"/>
        <p:guide pos="1063"/>
        <p:guide pos="2078"/>
        <p:guide pos="3439"/>
        <p:guide pos="4422"/>
        <p:guide pos="547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-3560" y="-128"/>
      </p:cViewPr>
      <p:guideLst>
        <p:guide orient="horz" pos="2689"/>
        <p:guide pos="201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5" Type="http://schemas.openxmlformats.org/officeDocument/2006/relationships/handoutMaster" Target="handoutMasters/handoutMaster1.xml"/><Relationship Id="rId6" Type="http://schemas.openxmlformats.org/officeDocument/2006/relationships/tags" Target="tags/tag1.xml"/><Relationship Id="rId7" Type="http://schemas.openxmlformats.org/officeDocument/2006/relationships/commentAuthors" Target="commentAuthors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fld id="{60894B92-CFD7-49D7-8282-D01DCF5CF0E2}" type="slidenum">
              <a:rPr lang="zh-CN" altLang="en-US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706511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1AF4AF3D-173B-47BB-9EDB-615CB4F9423A}" type="datetime1">
              <a:rPr lang="zh-CN" altLang="en-US"/>
              <a:t>2020/9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AAE7DAE3-E239-4C94-A11E-2D9236EEF3A2}" type="slidenum">
              <a:rPr lang="zh-CN" altLang="en-US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79522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29698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pPr>
              <a:spcBef>
                <a:spcPct val="0"/>
              </a:spcBef>
            </a:pPr>
            <a:r>
              <a:rPr kumimoji="1" lang="ja-JP" altLang="en-US"/>
              <a:t>简化标题</a:t>
            </a:r>
            <a:endParaRPr kumimoji="1" lang="zh-CN" altLang="en-US" dirty="0"/>
          </a:p>
        </p:txBody>
      </p:sp>
      <p:sp>
        <p:nvSpPr>
          <p:cNvPr id="29699" name="幻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41AA345-EEAA-4D26-9BDB-905BB408A8C0}" type="slidenum">
              <a:rPr lang="zh-CN" altLang="en-US"/>
              <a:t>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066796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Relationship Id="rId3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Relationship Id="rId3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Relationship Id="rId3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Relationship Id="rId3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Relationship Id="rId3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812131"/>
            <a:ext cx="7772400" cy="1102519"/>
          </a:xfrm>
          <a:effectLst/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5926" y="4594225"/>
            <a:ext cx="1332148" cy="5447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/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/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/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5926" y="4594225"/>
            <a:ext cx="1332148" cy="5447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SV_shenzhen.png"/>
          <p:cNvPicPr>
            <a:picLocks noChangeAspect="1"/>
          </p:cNvPicPr>
          <p:nvPr userDrawn="1"/>
        </p:nvPicPr>
        <p:blipFill>
          <a:blip r:embed="rId2"/>
          <a:srcRect l="63075" t="86430" r="10339"/>
          <a:stretch>
            <a:fillRect/>
          </a:stretch>
        </p:blipFill>
        <p:spPr bwMode="auto">
          <a:xfrm>
            <a:off x="0" y="0"/>
            <a:ext cx="91440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720090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879562"/>
            <a:ext cx="8229600" cy="3715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/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/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/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6" name="Picture 3" descr="C:\Users\lenovo\Desktop\UEP品牌和宣传计划\创新工场简介\创新工场logo2016_简体版透明底黑字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6316" y="-9856"/>
            <a:ext cx="1620000" cy="810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日期占位符 4">
            <a:extLst>
              <a:ext uri="{FF2B5EF4-FFF2-40B4-BE49-F238E27FC236}">
                <a16:creationId xmlns:a16="http://schemas.microsoft.com/office/drawing/2014/main" xmlns="" id="{80B03FE2-52CE-469D-91D1-9C48C2FA7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7" name="页脚占位符 6">
            <a:extLst>
              <a:ext uri="{FF2B5EF4-FFF2-40B4-BE49-F238E27FC236}">
                <a16:creationId xmlns:a16="http://schemas.microsoft.com/office/drawing/2014/main" xmlns="" id="{F74BD674-2735-40A9-BA64-22BB40295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8" name="灯片编号占位符 7">
            <a:extLst>
              <a:ext uri="{FF2B5EF4-FFF2-40B4-BE49-F238E27FC236}">
                <a16:creationId xmlns:a16="http://schemas.microsoft.com/office/drawing/2014/main" xmlns="" id="{15327A96-CD54-4F98-A007-41B3F7580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14F1C-CDAB-4967-80C9-0B2717A1372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SV_shenzhen.png"/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80FF00">
                <a:tint val="45000"/>
                <a:satMod val="400000"/>
              </a:srgbClr>
            </a:duotone>
          </a:blip>
          <a:srcRect l="49579" t="86415" r="23805"/>
          <a:stretch>
            <a:fillRect/>
          </a:stretch>
        </p:blipFill>
        <p:spPr>
          <a:xfrm>
            <a:off x="0" y="0"/>
            <a:ext cx="9144000" cy="720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2000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879562"/>
            <a:ext cx="8229600" cy="3715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/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/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/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332" y="159482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SV_shenzhen.png"/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66CCFF">
                <a:tint val="45000"/>
                <a:satMod val="400000"/>
              </a:srgbClr>
            </a:duotone>
          </a:blip>
          <a:srcRect l="45695" t="86497" r="27721" b="2"/>
          <a:stretch>
            <a:fillRect/>
          </a:stretch>
        </p:blipFill>
        <p:spPr>
          <a:xfrm>
            <a:off x="0" y="0"/>
            <a:ext cx="9144000" cy="71636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2000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879562"/>
            <a:ext cx="8229600" cy="3715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/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/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/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332" y="159482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>
            <a:off x="0" y="0"/>
            <a:ext cx="9144000" cy="827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-1"/>
            <a:ext cx="8229600" cy="826667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826667"/>
            <a:ext cx="8229600" cy="3767956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/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/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/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332" y="159482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>
            <a:off x="0" y="0"/>
            <a:ext cx="9144000" cy="827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-1"/>
            <a:ext cx="8229600" cy="826667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826667"/>
            <a:ext cx="8229600" cy="3767956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/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/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/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5926" y="4594225"/>
            <a:ext cx="1332148" cy="5447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标题和内容">
    <p:bg>
      <p:bgPr>
        <a:gradFill rotWithShape="1">
          <a:gsLst>
            <a:gs pos="0">
              <a:srgbClr val="404040"/>
            </a:gs>
            <a:gs pos="100000">
              <a:srgbClr val="000000"/>
            </a:gs>
          </a:gsLst>
          <a:lin ang="162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/>
        </p:nvSpPr>
        <p:spPr>
          <a:xfrm>
            <a:off x="323850" y="339725"/>
            <a:ext cx="133350" cy="630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>
                <a:solidFill>
                  <a:srgbClr val="FFFFFF"/>
                </a:solidFill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>
                <a:solidFill>
                  <a:srgbClr val="FFFFFF"/>
                </a:solidFill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FFFFFF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>
                <a:solidFill>
                  <a:srgbClr val="FFFFFF"/>
                </a:solidFill>
              </a:defRPr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332" y="159482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标题和内容">
    <p:bg>
      <p:bgPr>
        <a:gradFill rotWithShape="1">
          <a:gsLst>
            <a:gs pos="0">
              <a:srgbClr val="404040"/>
            </a:gs>
            <a:gs pos="100000">
              <a:srgbClr val="000000"/>
            </a:gs>
          </a:gsLst>
          <a:lin ang="162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>
                <a:solidFill>
                  <a:srgbClr val="FFFFFF"/>
                </a:solidFill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>
                <a:solidFill>
                  <a:srgbClr val="FFFFFF"/>
                </a:solidFill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FFFFFF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>
                <a:solidFill>
                  <a:srgbClr val="FFFFFF"/>
                </a:solidFill>
              </a:defRPr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00" y="4695986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标题和内容">
    <p:bg>
      <p:bgPr>
        <a:gradFill rotWithShape="1">
          <a:gsLst>
            <a:gs pos="0">
              <a:srgbClr val="404040"/>
            </a:gs>
            <a:gs pos="100000">
              <a:srgbClr val="000000"/>
            </a:gs>
          </a:gsLst>
          <a:lin ang="162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827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26667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826667"/>
            <a:ext cx="8229600" cy="3767956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>
                <a:solidFill>
                  <a:srgbClr val="FFFFFF"/>
                </a:solidFill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>
                <a:solidFill>
                  <a:srgbClr val="FFFFFF"/>
                </a:solidFill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FFFFFF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>
                <a:solidFill>
                  <a:srgbClr val="FFFFFF"/>
                </a:solidFill>
              </a:defRPr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332" y="159482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标题和内容">
    <p:bg>
      <p:bgPr>
        <a:gradFill rotWithShape="1">
          <a:gsLst>
            <a:gs pos="0">
              <a:srgbClr val="404040"/>
            </a:gs>
            <a:gs pos="100000">
              <a:srgbClr val="000000"/>
            </a:gs>
          </a:gsLst>
          <a:lin ang="162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0"/>
            <a:ext cx="9144000" cy="827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26667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826667"/>
            <a:ext cx="8229600" cy="3767956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>
                <a:solidFill>
                  <a:srgbClr val="FFFFFF"/>
                </a:solidFill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>
                <a:solidFill>
                  <a:srgbClr val="FFFFFF"/>
                </a:solidFill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>
                <a:solidFill>
                  <a:srgbClr val="FFFFFF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>
                <a:solidFill>
                  <a:srgbClr val="FFFFFF"/>
                </a:solidFill>
              </a:defRPr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00" y="4695986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131888"/>
            <a:ext cx="9144000" cy="2879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4" descr="创新工场AI工程院_灵.jpg"/>
          <p:cNvPicPr>
            <a:picLocks noChangeAspect="1"/>
          </p:cNvPicPr>
          <p:nvPr userDrawn="1"/>
        </p:nvPicPr>
        <p:blipFill>
          <a:blip r:embed="rId2"/>
          <a:srcRect l="2" t="-2" r="50208" b="33240"/>
          <a:stretch>
            <a:fillRect/>
          </a:stretch>
        </p:blipFill>
        <p:spPr bwMode="auto">
          <a:xfrm>
            <a:off x="647700" y="1131888"/>
            <a:ext cx="2863850" cy="287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779912" y="1346448"/>
            <a:ext cx="4678288" cy="1783059"/>
          </a:xfrm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algn="l">
              <a:defRPr sz="4800">
                <a:solidFill>
                  <a:srgbClr val="FFFFFF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3779912" y="3129508"/>
            <a:ext cx="4678288" cy="882402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ctrTitle"/>
          </p:nvPr>
        </p:nvSpPr>
        <p:spPr>
          <a:xfrm>
            <a:off x="685800" y="1812131"/>
            <a:ext cx="7772400" cy="1102519"/>
          </a:xfrm>
          <a:effectLst/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err="1"/>
              <a:t>单击此处编辑母版副标题样式</a:t>
            </a:r>
            <a:endParaRPr lang="zh-CN" altLang="en-US" dirty="0"/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5926" y="4594225"/>
            <a:ext cx="1332148" cy="5447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幻灯片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62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ctrTitle"/>
          </p:nvPr>
        </p:nvSpPr>
        <p:spPr>
          <a:xfrm>
            <a:off x="685800" y="1812131"/>
            <a:ext cx="7772400" cy="1102519"/>
          </a:xfrm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err="1"/>
              <a:t>单击此处编辑母版副标题样式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00" y="4695986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幻灯片">
    <p:bg>
      <p:bgPr>
        <a:gradFill rotWithShape="1">
          <a:gsLst>
            <a:gs pos="0">
              <a:srgbClr val="404040"/>
            </a:gs>
            <a:gs pos="100000">
              <a:srgbClr val="000000"/>
            </a:gs>
          </a:gsLst>
          <a:lin ang="162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ctrTitle"/>
          </p:nvPr>
        </p:nvSpPr>
        <p:spPr>
          <a:xfrm>
            <a:off x="685800" y="1812131"/>
            <a:ext cx="7772400" cy="1102519"/>
          </a:xfrm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err="1"/>
              <a:t>单击此处编辑母版副标题样式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00" y="4695986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幻灯片">
    <p:bg>
      <p:bgPr>
        <a:gradFill rotWithShape="1">
          <a:gsLst>
            <a:gs pos="0">
              <a:srgbClr val="404040"/>
            </a:gs>
            <a:gs pos="100000">
              <a:srgbClr val="000000"/>
            </a:gs>
          </a:gsLst>
          <a:lin ang="162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SV_Nest_blurred.png"/>
          <p:cNvPicPr>
            <a:picLocks noChangeAspect="1"/>
          </p:cNvPicPr>
          <p:nvPr userDrawn="1"/>
        </p:nvPicPr>
        <p:blipFill>
          <a:blip r:embed="rId2"/>
          <a:srcRect t="15625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</p:nvPr>
        </p:nvSpPr>
        <p:spPr>
          <a:xfrm>
            <a:off x="685800" y="1812131"/>
            <a:ext cx="7772400" cy="1102519"/>
          </a:xfrm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err="1"/>
              <a:t>单击此处编辑母版副标题样式</a:t>
            </a: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00" y="4695986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V_shenzhen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3732213"/>
            <a:ext cx="9144000" cy="141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738957"/>
            <a:ext cx="7772400" cy="1102519"/>
          </a:xfrm>
          <a:effectLst/>
        </p:spPr>
        <p:txBody>
          <a:bodyPr>
            <a:normAutofit/>
          </a:bodyPr>
          <a:lstStyle>
            <a:lvl1pPr>
              <a:lnSpc>
                <a:spcPct val="90000"/>
              </a:lnSpc>
              <a:defRPr sz="48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841476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Picture 3" descr="C:\Users\lenovo\Desktop\UEP品牌和宣传计划\创新工场简介\创新工场logo2016_简体版透明底黑字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886" y="483518"/>
            <a:ext cx="2052228" cy="102611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标题幻灯片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62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812131"/>
            <a:ext cx="7772400" cy="1102519"/>
          </a:xfrm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标题幻灯片">
    <p:bg>
      <p:bgPr>
        <a:gradFill rotWithShape="1">
          <a:gsLst>
            <a:gs pos="0">
              <a:srgbClr val="404040"/>
            </a:gs>
            <a:gs pos="100000">
              <a:srgbClr val="000000"/>
            </a:gs>
          </a:gsLst>
          <a:lin ang="162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812131"/>
            <a:ext cx="7772400" cy="1102519"/>
          </a:xfrm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09726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00" y="4551970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SV_Nest_blurred.png"/>
          <p:cNvPicPr>
            <a:picLocks noChangeAspect="1"/>
          </p:cNvPicPr>
          <p:nvPr userDrawn="1"/>
        </p:nvPicPr>
        <p:blipFill>
          <a:blip r:embed="rId2"/>
          <a:srcRect t="15625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812131"/>
            <a:ext cx="7772400" cy="1102519"/>
          </a:xfrm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00" y="4695986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创新工场AI工程院_灵.jpg"/>
          <p:cNvPicPr>
            <a:picLocks noChangeAspect="1"/>
          </p:cNvPicPr>
          <p:nvPr userDrawn="1"/>
        </p:nvPicPr>
        <p:blipFill>
          <a:blip r:embed="rId2"/>
          <a:srcRect l="-2" t="-2" r="35" b="25027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3514" y="1812131"/>
            <a:ext cx="7772400" cy="1102519"/>
          </a:xfrm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00" y="4695986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标题幻灯片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V_BigBang.jpeg"/>
          <p:cNvPicPr>
            <a:picLocks noChangeAspect="1"/>
          </p:cNvPicPr>
          <p:nvPr userDrawn="1"/>
        </p:nvPicPr>
        <p:blipFill>
          <a:blip r:embed="rId2"/>
          <a:srcRect b="25000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812131"/>
            <a:ext cx="7772400" cy="1102519"/>
          </a:xfrm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00" y="4695986"/>
            <a:ext cx="1459384" cy="4138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/>
        </p:nvSpPr>
        <p:spPr>
          <a:xfrm>
            <a:off x="323850" y="339725"/>
            <a:ext cx="133350" cy="630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6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3000"/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2400"/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defRPr sz="1200"/>
            </a:lvl4pPr>
            <a:lvl5pPr marL="182880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348" y="382472"/>
            <a:ext cx="1332148" cy="544744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u="none" strike="noStrike" kern="1200" cap="none" spc="0" normalizeH="0">
                <a:solidFill>
                  <a:schemeClr val="tx1">
                    <a:tint val="75000"/>
                  </a:schemeClr>
                </a:solidFill>
                <a:latin typeface="Palatino Linotype" panose="02040502050505030304" charset="0"/>
                <a:ea typeface="楷体" panose="02010609060101010101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 u="none" strike="noStrike" kern="1200" cap="none" spc="0" normalizeH="0" dirty="0">
                <a:solidFill>
                  <a:schemeClr val="tx1">
                    <a:tint val="75000"/>
                  </a:schemeClr>
                </a:solidFill>
                <a:latin typeface="Palatino Linotype" panose="02040502050505030304" charset="0"/>
                <a:ea typeface="楷体" panose="02010609060101010101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xmlns="" id="{730BF2E6-4E95-4988-8B2D-2EC200EEB9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214F1C-CDAB-4967-80C9-0B2717A1372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</p:sldLayoutIdLst>
  <p:hf hdr="0" ftr="0" dt="0"/>
  <p:txStyles>
    <p:titleStyle>
      <a:lvl1pPr algn="ctr" rtl="0" fontAlgn="base">
        <a:lnSpc>
          <a:spcPct val="110000"/>
        </a:lnSpc>
        <a:spcBef>
          <a:spcPct val="0"/>
        </a:spcBef>
        <a:spcAft>
          <a:spcPct val="0"/>
        </a:spcAft>
        <a:defRPr sz="4800" kern="12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+mj-cs"/>
        </a:defRPr>
      </a:lvl1pPr>
      <a:lvl2pPr algn="ctr" rtl="0" fontAlgn="base">
        <a:lnSpc>
          <a:spcPct val="110000"/>
        </a:lnSpc>
        <a:spcBef>
          <a:spcPct val="0"/>
        </a:spcBef>
        <a:spcAft>
          <a:spcPct val="0"/>
        </a:spcAft>
        <a:defRPr sz="48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Arial" panose="020B0604020202020204" pitchFamily="34" charset="0"/>
        </a:defRPr>
      </a:lvl2pPr>
      <a:lvl3pPr algn="ctr" rtl="0" fontAlgn="base">
        <a:lnSpc>
          <a:spcPct val="110000"/>
        </a:lnSpc>
        <a:spcBef>
          <a:spcPct val="0"/>
        </a:spcBef>
        <a:spcAft>
          <a:spcPct val="0"/>
        </a:spcAft>
        <a:defRPr sz="48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Arial" panose="020B0604020202020204" pitchFamily="34" charset="0"/>
        </a:defRPr>
      </a:lvl3pPr>
      <a:lvl4pPr algn="ctr" rtl="0" fontAlgn="base">
        <a:lnSpc>
          <a:spcPct val="110000"/>
        </a:lnSpc>
        <a:spcBef>
          <a:spcPct val="0"/>
        </a:spcBef>
        <a:spcAft>
          <a:spcPct val="0"/>
        </a:spcAft>
        <a:defRPr sz="48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Arial" panose="020B0604020202020204" pitchFamily="34" charset="0"/>
        </a:defRPr>
      </a:lvl4pPr>
      <a:lvl5pPr algn="ctr" rtl="0" fontAlgn="base">
        <a:lnSpc>
          <a:spcPct val="110000"/>
        </a:lnSpc>
        <a:spcBef>
          <a:spcPct val="0"/>
        </a:spcBef>
        <a:spcAft>
          <a:spcPct val="0"/>
        </a:spcAft>
        <a:defRPr sz="48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Arial" panose="020B0604020202020204" pitchFamily="34" charset="0"/>
        </a:defRPr>
      </a:lvl5pPr>
      <a:lvl6pPr marL="457200" algn="ctr" rtl="0" fontAlgn="base">
        <a:lnSpc>
          <a:spcPct val="110000"/>
        </a:lnSpc>
        <a:spcBef>
          <a:spcPct val="0"/>
        </a:spcBef>
        <a:spcAft>
          <a:spcPct val="0"/>
        </a:spcAft>
        <a:defRPr sz="48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Arial" panose="020B0604020202020204" pitchFamily="34" charset="0"/>
        </a:defRPr>
      </a:lvl6pPr>
      <a:lvl7pPr marL="914400" algn="ctr" rtl="0" fontAlgn="base">
        <a:lnSpc>
          <a:spcPct val="110000"/>
        </a:lnSpc>
        <a:spcBef>
          <a:spcPct val="0"/>
        </a:spcBef>
        <a:spcAft>
          <a:spcPct val="0"/>
        </a:spcAft>
        <a:defRPr sz="48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Arial" panose="020B0604020202020204" pitchFamily="34" charset="0"/>
        </a:defRPr>
      </a:lvl7pPr>
      <a:lvl8pPr marL="1371600" algn="ctr" rtl="0" fontAlgn="base">
        <a:lnSpc>
          <a:spcPct val="110000"/>
        </a:lnSpc>
        <a:spcBef>
          <a:spcPct val="0"/>
        </a:spcBef>
        <a:spcAft>
          <a:spcPct val="0"/>
        </a:spcAft>
        <a:defRPr sz="48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Arial" panose="020B0604020202020204" pitchFamily="34" charset="0"/>
        </a:defRPr>
      </a:lvl8pPr>
      <a:lvl9pPr marL="1828800" algn="ctr" rtl="0" fontAlgn="base">
        <a:lnSpc>
          <a:spcPct val="110000"/>
        </a:lnSpc>
        <a:spcBef>
          <a:spcPct val="0"/>
        </a:spcBef>
        <a:spcAft>
          <a:spcPct val="0"/>
        </a:spcAft>
        <a:defRPr sz="48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Arial" panose="020B0604020202020204" pitchFamily="34" charset="0"/>
        </a:defRPr>
      </a:lvl9pPr>
    </p:titleStyle>
    <p:bodyStyle>
      <a:lvl1pPr marL="342900" indent="-342900" algn="l" rtl="0" fontAlgn="base">
        <a:lnSpc>
          <a:spcPct val="120000"/>
        </a:lnSpc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+mn-cs"/>
        </a:defRPr>
      </a:lvl1pPr>
      <a:lvl2pPr marL="742950" indent="-285750" algn="l" rtl="0" fontAlgn="base">
        <a:lnSpc>
          <a:spcPct val="120000"/>
        </a:lnSpc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+mn-cs"/>
        </a:defRPr>
      </a:lvl2pPr>
      <a:lvl3pPr marL="1143000" indent="-228600" algn="l" rtl="0" fontAlgn="base">
        <a:lnSpc>
          <a:spcPct val="120000"/>
        </a:lnSpc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+mn-cs"/>
        </a:defRPr>
      </a:lvl3pPr>
      <a:lvl4pPr marL="1600200" indent="-228600" algn="l" rtl="0" fontAlgn="base">
        <a:lnSpc>
          <a:spcPct val="120000"/>
        </a:lnSpc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+mn-cs"/>
        </a:defRPr>
      </a:lvl4pPr>
      <a:lvl5pPr marL="2057400" indent="-228600" algn="l" rtl="0" fontAlgn="base">
        <a:lnSpc>
          <a:spcPct val="120000"/>
        </a:lnSpc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Palatino Linotype" panose="02040502050505030304" charset="0"/>
          <a:ea typeface="楷体" panose="02010609060101010101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0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xmlns="" id="{D3D1E561-23CC-4D40-B8B5-D06E28DC5D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2077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2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xmlns="" id="{F54056C5-F084-4248-A243-F36FF12519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zh-CN" altLang="en-US" sz="32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28673" name="Title 1"/>
          <p:cNvSpPr>
            <a:spLocks noGrp="1"/>
          </p:cNvSpPr>
          <p:nvPr>
            <p:ph type="ctrTitle"/>
          </p:nvPr>
        </p:nvSpPr>
        <p:spPr>
          <a:xfrm>
            <a:off x="1151620" y="1635646"/>
            <a:ext cx="7086600" cy="1103312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+mj-ea"/>
                <a:ea typeface="+mj-ea"/>
              </a:rPr>
              <a:t>GPT-3</a:t>
            </a:r>
            <a:r>
              <a:rPr lang="zh-CN" altLang="en-US" sz="2000" b="1" dirty="0" smtClean="0">
                <a:latin typeface="+mj-ea"/>
                <a:ea typeface="+mj-ea"/>
              </a:rPr>
              <a:t> </a:t>
            </a:r>
            <a:r>
              <a:rPr lang="zh-CN" altLang="en-US" sz="2000" b="1" dirty="0" smtClean="0">
                <a:latin typeface="+mj-ea"/>
                <a:ea typeface="+mj-ea"/>
              </a:rPr>
              <a:t>研究报告</a:t>
            </a:r>
            <a:endParaRPr lang="en-US" sz="2000" b="1" dirty="0">
              <a:latin typeface="+mj-ea"/>
              <a:ea typeface="+mj-ea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841625"/>
            <a:ext cx="6400800" cy="1314450"/>
          </a:xfrm>
        </p:spPr>
        <p:txBody>
          <a:bodyPr rtlCol="0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altLang="zh-CN" sz="14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zh-CN" altLang="en-US" sz="1400" dirty="0" smtClean="0">
                <a:latin typeface="+mn-ea"/>
                <a:ea typeface="+mn-ea"/>
              </a:rPr>
              <a:t>创新工场</a:t>
            </a:r>
            <a:r>
              <a:rPr lang="en-US" altLang="zh-CN" sz="1400" dirty="0" smtClean="0">
                <a:latin typeface="+mn-ea"/>
                <a:ea typeface="+mn-ea"/>
              </a:rPr>
              <a:t>AI</a:t>
            </a:r>
            <a:r>
              <a:rPr lang="zh-CN" altLang="en-US" sz="1400" dirty="0" smtClean="0">
                <a:latin typeface="+mn-ea"/>
                <a:ea typeface="+mn-ea"/>
              </a:rPr>
              <a:t>工程院</a:t>
            </a:r>
            <a:endParaRPr lang="en-US" sz="1400" dirty="0">
              <a:latin typeface="+mn-ea"/>
              <a:ea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20820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RePXb6TR6OAY0GrhA1pw"/>
</p:tagLst>
</file>

<file path=ppt/theme/theme1.xml><?xml version="1.0" encoding="utf-8"?>
<a:theme xmlns:a="http://schemas.openxmlformats.org/drawingml/2006/main" name="Office 主题">
  <a:themeElements>
    <a:clrScheme name="SV1">
      <a:dk1>
        <a:srgbClr val="666666"/>
      </a:dk1>
      <a:lt1>
        <a:sysClr val="window" lastClr="FFFFFF"/>
      </a:lt1>
      <a:dk2>
        <a:srgbClr val="000000"/>
      </a:dk2>
      <a:lt2>
        <a:srgbClr val="FFFFFF"/>
      </a:lt2>
      <a:accent1>
        <a:srgbClr val="F28400"/>
      </a:accent1>
      <a:accent2>
        <a:srgbClr val="EE6B00"/>
      </a:accent2>
      <a:accent3>
        <a:srgbClr val="3D8007"/>
      </a:accent3>
      <a:accent4>
        <a:srgbClr val="8EC727"/>
      </a:accent4>
      <a:accent5>
        <a:srgbClr val="00B0F0"/>
      </a:accent5>
      <a:accent6>
        <a:srgbClr val="0070C0"/>
      </a:accent6>
      <a:hlink>
        <a:srgbClr val="FF6600"/>
      </a:hlink>
      <a:folHlink>
        <a:srgbClr val="CC3300"/>
      </a:folHlink>
    </a:clrScheme>
    <a:fontScheme name="INWAY">
      <a:majorFont>
        <a:latin typeface="Calibri"/>
        <a:ea typeface="微软雅黑"/>
        <a:cs typeface="Arial"/>
      </a:majorFont>
      <a:minorFont>
        <a:latin typeface="Calibri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.thmx</Template>
  <TotalTime>185162</TotalTime>
  <Words>10</Words>
  <Application>Microsoft Macintosh PowerPoint</Application>
  <PresentationFormat>全屏显示(16:9)</PresentationFormat>
  <Paragraphs>5</Paragraphs>
  <Slides>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11" baseType="lpstr">
      <vt:lpstr>Arial</vt:lpstr>
      <vt:lpstr>Calibri</vt:lpstr>
      <vt:lpstr>ＭＳ Ｐゴシック</vt:lpstr>
      <vt:lpstr>Palatino Linotype</vt:lpstr>
      <vt:lpstr>楷体</vt:lpstr>
      <vt:lpstr>宋体</vt:lpstr>
      <vt:lpstr>微软雅黑</vt:lpstr>
      <vt:lpstr>Office 主题</vt:lpstr>
      <vt:lpstr>think-cell Slide</vt:lpstr>
      <vt:lpstr>GPT-3 研究报告</vt:lpstr>
      <vt:lpstr>PowerPoint 演示文稿</vt:lpstr>
    </vt:vector>
  </TitlesOfParts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这是一个标题</dc:title>
  <dc:creator>Sinovation Ventures</dc:creator>
  <cp:lastModifiedBy>叶奇意</cp:lastModifiedBy>
  <cp:revision>4261</cp:revision>
  <cp:lastPrinted>2019-01-29T06:59:51Z</cp:lastPrinted>
  <dcterms:created xsi:type="dcterms:W3CDTF">2012-04-29T04:12:00Z</dcterms:created>
  <dcterms:modified xsi:type="dcterms:W3CDTF">2020-09-02T10:2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750</vt:lpwstr>
  </property>
</Properties>
</file>